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9"/>
    <p:sldMasterId id="2147483694" r:id="rId20"/>
  </p:sldMasterIdLst>
  <p:notesMasterIdLst>
    <p:notesMasterId r:id="rId23"/>
  </p:notesMasterIdLst>
  <p:sldIdLst>
    <p:sldId id="2147483358" r:id="rId21"/>
    <p:sldId id="214748335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55AAD6-243B-4214-BB34-5D228F1B9C5C}">
          <p14:sldIdLst>
            <p14:sldId id="2147483358"/>
            <p14:sldId id="21474833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7A6C"/>
    <a:srgbClr val="7F6000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BE189A-A25D-48FD-BBD9-A78FC8D378D8}" v="110" dt="2025-03-10T05:45:06.245"/>
  </p1510:revLst>
</p1510:revInfo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92252" autoAdjust="0"/>
  </p:normalViewPr>
  <p:slideViewPr>
    <p:cSldViewPr snapToGrid="0">
      <p:cViewPr varScale="1">
        <p:scale>
          <a:sx n="106" d="100"/>
          <a:sy n="106" d="100"/>
        </p:scale>
        <p:origin x="82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C823F-CFDD-4183-A026-323438AD8ECE}" type="datetimeFigureOut">
              <a:rPr lang="en-US" smtClean="0"/>
              <a:t>9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3F26C4-0F73-4907-8F98-F4EB73315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84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openxmlformats.org/officeDocument/2006/relationships/image" Target="../media/image4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ADVANCED SCIENCES…">
            <a:extLst>
              <a:ext uri="{FF2B5EF4-FFF2-40B4-BE49-F238E27FC236}">
                <a16:creationId xmlns:a16="http://schemas.microsoft.com/office/drawing/2014/main" id="{67E8F6D2-66B0-22EF-3AD6-0F107BB5969E}"/>
              </a:ext>
            </a:extLst>
          </p:cNvPr>
          <p:cNvSpPr/>
          <p:nvPr userDrawn="1"/>
        </p:nvSpPr>
        <p:spPr>
          <a:xfrm flipH="1">
            <a:off x="10134600" y="0"/>
            <a:ext cx="1957011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8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Janna LT" panose="01000000000000000000" pitchFamily="2" charset="-78"/>
                <a:ea typeface="+mj-ea"/>
                <a:cs typeface="Janna LT" panose="01000000000000000000" pitchFamily="2" charset="-78"/>
                <a:sym typeface="Sakkal Majalla" panose="02000000000000000000" pitchFamily="2" charset="-78"/>
              </a:rPr>
              <a:t>Integrated Industrial Partnership</a:t>
            </a:r>
          </a:p>
        </p:txBody>
      </p:sp>
      <p:pic>
        <p:nvPicPr>
          <p:cNvPr id="8" name="flag_UAE">
            <a:extLst>
              <a:ext uri="{FF2B5EF4-FFF2-40B4-BE49-F238E27FC236}">
                <a16:creationId xmlns:a16="http://schemas.microsoft.com/office/drawing/2014/main" id="{A21622A0-F0FF-B621-0AA1-B453653508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0457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egypt">
            <a:extLst>
              <a:ext uri="{FF2B5EF4-FFF2-40B4-BE49-F238E27FC236}">
                <a16:creationId xmlns:a16="http://schemas.microsoft.com/office/drawing/2014/main" id="{4216C7A8-D538-8BC2-33C5-4A82C4202A4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30042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flag_jordan">
            <a:extLst>
              <a:ext uri="{FF2B5EF4-FFF2-40B4-BE49-F238E27FC236}">
                <a16:creationId xmlns:a16="http://schemas.microsoft.com/office/drawing/2014/main" id="{4D95B2C3-820B-F213-8053-AC63B22C380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9628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" name="Picture 2" descr="‫علم المغرب from ar.wikipedia.org‬‎">
            <a:extLst>
              <a:ext uri="{FF2B5EF4-FFF2-40B4-BE49-F238E27FC236}">
                <a16:creationId xmlns:a16="http://schemas.microsoft.com/office/drawing/2014/main" id="{4761BD0B-6347-F84A-6054-2C30DBB11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1415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32EA382B-61A2-9085-4C53-E2F31DE9E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1829" y="248639"/>
            <a:ext cx="212811" cy="1665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 descr="Turkey - Wikipedia">
            <a:extLst>
              <a:ext uri="{FF2B5EF4-FFF2-40B4-BE49-F238E27FC236}">
                <a16:creationId xmlns:a16="http://schemas.microsoft.com/office/drawing/2014/main" id="{3591633C-4EA7-E1B0-1FAD-78CF78FE68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3338" y="248639"/>
            <a:ext cx="185426" cy="1665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id="{54906214-49CE-ACB9-0648-6EE563523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3752" y="249205"/>
            <a:ext cx="212675" cy="1654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339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A1683-15A5-AC8B-0023-185EF4CD4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6EF232-B55C-7A07-B1A0-61ECACDC5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429D1F-A3D3-DD48-B7DE-FBE0EBFC03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FB4088-F068-65A8-3DC0-AD457EF8A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89BB2-3971-D8C7-A2B9-ECD0C4A9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691C83-5703-E269-0E6D-F2FA3B271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653892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A6804-9CE2-1292-D8AB-2C8148FF4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FB2C2B-4293-CF5C-FCE2-F4831356B0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256B27-DDB9-021F-95BA-0C58A8AA67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1D4328-1AFA-BA75-13D4-A73CAE23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7AA515-9328-316C-60A5-BB659F2E4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D5AD6C-2764-8FF9-8C5A-1469663FA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144340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A672A-AAF5-E8B9-7CDB-04737A03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96D204-7465-276C-51C8-44EF39144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1A2E71-3304-09BB-B956-1045C658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52236A-A18B-1640-C29E-26C949FC3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AD1896-0919-434F-A1B5-C7CAE808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4026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FD3F3F-604F-90AA-23B0-0909341982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61878E-633E-274C-7B93-3C989762C6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3DF6EC-A5F9-0680-0268-B6F30536B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FFF807-AF17-5040-3DDB-5F2FE072B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34AC79-3AAA-B295-BE44-C0FCF216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50821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Image"/>
          <p:cNvSpPr>
            <a:spLocks noGrp="1"/>
          </p:cNvSpPr>
          <p:nvPr>
            <p:ph type="pic" sz="half" idx="21"/>
          </p:nvPr>
        </p:nvSpPr>
        <p:spPr>
          <a:xfrm>
            <a:off x="1" y="1"/>
            <a:ext cx="3935760" cy="685800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56" name="Rectangle"/>
          <p:cNvSpPr/>
          <p:nvPr/>
        </p:nvSpPr>
        <p:spPr>
          <a:xfrm>
            <a:off x="5267908" y="368660"/>
            <a:ext cx="2052229" cy="5040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2860" rIns="22860"/>
          <a:lstStyle/>
          <a:p>
            <a:pPr algn="ctr"/>
            <a:endParaRPr sz="900"/>
          </a:p>
        </p:txBody>
      </p:sp>
      <p:sp>
        <p:nvSpPr>
          <p:cNvPr id="3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15761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8906E0-08F4-4876-B807-68F1B5EBF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167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8906E0-08F4-4876-B807-68F1B5EBF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5B70587-665F-411C-810A-3156713C5B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CD39E5-5FCE-D747-93A0-D9D15BB00B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48AB6F-3B89-1644-96D9-222468400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20C180-11D4-6D41-8F29-4D42BDEBB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8FA6F2A6-FBE3-E649-8A1B-0A030BE0C4D2}"/>
              </a:ext>
            </a:extLst>
          </p:cNvPr>
          <p:cNvSpPr/>
          <p:nvPr userDrawn="1"/>
        </p:nvSpPr>
        <p:spPr>
          <a:xfrm>
            <a:off x="-1" y="-10654"/>
            <a:ext cx="12192002" cy="6868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651000" rtl="0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1F87C71A-A110-4393-A462-D052389255A8}"/>
              </a:ext>
            </a:extLst>
          </p:cNvPr>
          <p:cNvSpPr txBox="1">
            <a:spLocks/>
          </p:cNvSpPr>
          <p:nvPr userDrawn="1"/>
        </p:nvSpPr>
        <p:spPr>
          <a:xfrm>
            <a:off x="11644745" y="6492875"/>
            <a:ext cx="54725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400" kern="1200">
                <a:solidFill>
                  <a:schemeClr val="tx1"/>
                </a:solidFill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065941-14B6-EC49-8CB8-D499C9A56864}" type="slidenum">
              <a:rPr lang="en-US" smtClean="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pPr/>
              <a:t>‹#›</a:t>
            </a:fld>
            <a:endParaRPr lang="en-US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6328C3D8-B065-43D5-B626-DB4A9FE32B53}"/>
              </a:ext>
            </a:extLst>
          </p:cNvPr>
          <p:cNvSpPr txBox="1">
            <a:spLocks/>
          </p:cNvSpPr>
          <p:nvPr userDrawn="1"/>
        </p:nvSpPr>
        <p:spPr>
          <a:xfrm>
            <a:off x="450759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05503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0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537FF-F25B-65E2-BBCD-75ADEAB34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EB9B5A-85BF-6293-4FA3-579AE919B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2A7D89-0D81-BBD4-6167-5E66E3AB6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D38B3-3DAD-70DC-C879-D24D5F14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898C7-66D7-BDB3-F25B-1749D7807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3244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1BA69-A7F5-FC8B-277F-50FEC0C5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78E9C-0C65-F489-ACDE-F586B8C73E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DD0FFF-F73A-F389-E244-BD182E64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A8E4C-02B0-0D99-65D4-D55EBA9D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59B96-DF19-7018-2A1A-ECA538BD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0442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64F24-091B-943A-35F1-CEAA20E8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B92563-9AEB-777D-48CB-B912AE262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387550-D797-2DF0-259A-DB10690FD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DD8BB9-B718-0D44-A8B1-CE18128EA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C6672-C31C-EF1F-E1EF-82E58408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0591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D15B6-E597-FDB5-BC6A-F35590B9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8FDA2D-CEBF-96DE-5D1F-42B2AD322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7258E7-3144-7C67-AABA-D76156BAA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966B50-81D4-9AFD-2056-4D4C8CDEA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F5FB6A-BE56-E481-36BD-666B70D25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853C56-9AC4-74CE-BF04-35985E62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1839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EA51C-BC7C-EDC4-17D9-0025CAE0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BAE7A3-F054-2378-3B4D-EFB456160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176D51-1FA7-D4BD-98FD-61EDFCF0B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31917C-024A-CF7E-1795-1F363D992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9FB8C5-110E-6D1D-078B-ADE23CF80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EAE40C-11B5-625E-B875-2F25139CC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B54EBE-0192-33C5-1954-9898D491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606546-E49D-D012-B728-BDAF01BF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25382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8C5FB-C174-61A2-2EC3-B05B4E86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3D1AB2-1D38-7A7F-8897-DB2497B0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66750C-6490-6783-379D-94EB924FF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28F6A2-7B57-05A8-EDD3-E9F4699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29230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13DEF6-FE0E-AA8C-27A8-B9B665A07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C4821D-F0F2-ED67-6767-5D71544F3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02C988-8D3F-FD47-8B7E-CCE3C2933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99769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ags" Target="../tags/tag1.xml"/><Relationship Id="rId1" Type="http://schemas.openxmlformats.org/officeDocument/2006/relationships/theme" Target="../theme/theme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C7E61AE-1103-40EB-A43A-D10AB738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895714"/>
              </p:ext>
            </p:ext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C7E61AE-1103-40EB-A43A-D10AB738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83CDC21-0469-4870-9C4D-8F4EA1F1AC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r" rtl="1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00ECDA25-96AC-4845-9F08-89B21DA9A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0" y="6492875"/>
            <a:ext cx="547255" cy="365125"/>
          </a:xfrm>
          <a:prstGeom prst="rect">
            <a:avLst/>
          </a:prstGeom>
        </p:spPr>
        <p:txBody>
          <a:bodyPr/>
          <a:lstStyle>
            <a:lvl1pPr algn="ctr" rtl="0">
              <a:defRPr sz="140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396D35-5CC5-4635-9BBF-14B1364677B0}"/>
              </a:ext>
            </a:extLst>
          </p:cNvPr>
          <p:cNvSpPr/>
          <p:nvPr userDrawn="1"/>
        </p:nvSpPr>
        <p:spPr>
          <a:xfrm flipH="1">
            <a:off x="0" y="-1"/>
            <a:ext cx="12192000" cy="6889289"/>
          </a:xfrm>
          <a:prstGeom prst="rect">
            <a:avLst/>
          </a:prstGeom>
          <a:gradFill flip="none" rotWithShape="1">
            <a:gsLst>
              <a:gs pos="0">
                <a:srgbClr val="E6E6E6">
                  <a:shade val="30000"/>
                  <a:satMod val="115000"/>
                  <a:alpha val="31000"/>
                </a:srgbClr>
              </a:gs>
              <a:gs pos="50000">
                <a:srgbClr val="E6E6E6">
                  <a:shade val="67500"/>
                  <a:satMod val="115000"/>
                  <a:alpha val="31000"/>
                </a:srgbClr>
              </a:gs>
              <a:gs pos="100000">
                <a:srgbClr val="E6E6E6">
                  <a:shade val="100000"/>
                  <a:satMod val="115000"/>
                  <a:alpha val="2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E0C821D-14BD-4BFA-B166-A7F209D0F8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94" y="1604241"/>
            <a:ext cx="12192000" cy="508477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8FEDC616-389D-400E-B801-88DE18F495EA}"/>
              </a:ext>
            </a:extLst>
          </p:cNvPr>
          <p:cNvSpPr txBox="1">
            <a:spLocks/>
          </p:cNvSpPr>
          <p:nvPr userDrawn="1"/>
        </p:nvSpPr>
        <p:spPr>
          <a:xfrm flipH="1">
            <a:off x="1200910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2075609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ITC Avant Garde Std Bk" panose="020B0502020202020204" pitchFamily="34" charset="0"/>
          <a:ea typeface="+mj-ea"/>
          <a:cs typeface="+mj-cs"/>
          <a:sym typeface="ITC Avant Garde Std Bk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FDD71F-AA96-C4E9-0D87-027D48010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E4FD38-4D17-98DB-5CE8-AF3D0AA14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9DDBC1-25EC-10D3-E7E5-C912DF97E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9CEE8-03EF-934C-9BB3-43EE3FBD04A0}" type="datetimeFigureOut">
              <a:rPr lang="en-AE" smtClean="0"/>
              <a:t>23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2863D-53CD-6B40-1804-A433484EC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066D2-0340-B16E-776E-F5947BFD3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2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9" r:id="rId14"/>
    <p:sldLayoutId id="2147483710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279605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Sector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1" y="279605"/>
            <a:ext cx="2177937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  <a:latin typeface="Tajawal" panose="020B0604020202020204" charset="-7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4729166" y="279605"/>
            <a:ext cx="1495568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6304873" y="279605"/>
            <a:ext cx="2934233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nam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847961"/>
            <a:ext cx="3753644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6362211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8336460" y="847961"/>
            <a:ext cx="364827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1951093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1951093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ized project 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2522459"/>
            <a:ext cx="1836771" cy="4212170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 description and details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2522459"/>
            <a:ext cx="9513643" cy="4212170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 (details about the project, green field or expansion) e.g. setting up a facility to manufacture xxx in </a:t>
            </a:r>
            <a:r>
              <a:rPr lang="en-US" sz="1600" dirty="0" err="1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yy</a:t>
            </a: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investment amou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 roles what is the specific role of any of the countries in the partnershi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s to be manufactu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y market and demand data if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 slides can be used to fit more 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1399527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detail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1399527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, Phon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9311675" y="279605"/>
            <a:ext cx="1220172" cy="43633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untry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10586665" y="279605"/>
            <a:ext cx="1398068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883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>
            <a:off x="379544" y="333829"/>
            <a:ext cx="1836771" cy="211353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Incentives and enabler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>
            <a:off x="2471090" y="333829"/>
            <a:ext cx="9513643" cy="2113536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 the required enablers and incentives and in which country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: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 require investment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 require loan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 Require offtakes/ commercial partnerships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 technology partnerships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 other requests for enablers for the project to succee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>
            <a:off x="379544" y="2612972"/>
            <a:ext cx="1836771" cy="197247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artner companies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379544" y="4803284"/>
            <a:ext cx="1836771" cy="1839564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roject statu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B367B8E-75CF-469D-9D30-D0B38BCD23DD}"/>
              </a:ext>
            </a:extLst>
          </p:cNvPr>
          <p:cNvSpPr/>
          <p:nvPr/>
        </p:nvSpPr>
        <p:spPr>
          <a:xfrm flipH="1">
            <a:off x="2471090" y="4803284"/>
            <a:ext cx="9513643" cy="1839564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current status of the project (idea stage, some preliminary feasibility, detailed feasibility, etc.)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st updates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this project discussed with the other companies  involved?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5559774-B3D7-B593-C005-099D4AB8F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911074"/>
              </p:ext>
            </p:extLst>
          </p:nvPr>
        </p:nvGraphicFramePr>
        <p:xfrm>
          <a:off x="2471091" y="2612972"/>
          <a:ext cx="9513642" cy="217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65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51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1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013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mpan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untr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Role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131">
                <a:tc>
                  <a:txBody>
                    <a:bodyPr/>
                    <a:lstStyle/>
                    <a:p>
                      <a:pPr marL="0" algn="l" defTabSz="914400" rtl="1" eaLnBrk="1" latinLnBrk="0" hangingPunct="1"/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rgbClr val="817A6C"/>
                          </a:solidFill>
                          <a:latin typeface="Tajawal" panose="020B0604020202020204" charset="-78"/>
                          <a:ea typeface="+mn-ea"/>
                          <a:cs typeface="Tajawal" panose="020B0604020202020204" charset="-78"/>
                        </a:rPr>
                        <a:t>Investor, partner, raw material supply, offtaker, tech transfer , etc.. </a:t>
                      </a: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5206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H3K2m4vbQ2RTDYVD5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HPWlS5HXz9vLYClvSTbA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424C69"/>
      </a:dk2>
      <a:lt2>
        <a:srgbClr val="E7E6E6"/>
      </a:lt2>
      <a:accent1>
        <a:srgbClr val="424C69"/>
      </a:accent1>
      <a:accent2>
        <a:srgbClr val="D9625B"/>
      </a:accent2>
      <a:accent3>
        <a:srgbClr val="EBBE50"/>
      </a:accent3>
      <a:accent4>
        <a:srgbClr val="4C6966"/>
      </a:accent4>
      <a:accent5>
        <a:srgbClr val="AE9885"/>
      </a:accent5>
      <a:accent6>
        <a:srgbClr val="B38D3A"/>
      </a:accent6>
      <a:hlink>
        <a:srgbClr val="403E40"/>
      </a:hlink>
      <a:folHlink>
        <a:srgbClr val="DD9B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9259a0c4-1ec0-4a48-8a21-d5de64682a98</DcR_SlideID>
</file>

<file path=customXml/item10.xml><?xml version="1.0" encoding="utf-8"?>
<DcR_SlideID>c432636c-bb71-4edb-b9b3-5e5d0d1708d0</DcR_SlideID>
</file>

<file path=customXml/item11.xml><?xml version="1.0" encoding="utf-8"?>
<DcR_SlideID>c432636c-bb71-4edb-b9b3-5e5d0d1708d0</DcR_SlideID>
</file>

<file path=customXml/item12.xml><?xml version="1.0" encoding="utf-8"?>
<DcR_SlideID>c432636c-bb71-4edb-b9b3-5e5d0d1708d0</DcR_SlideID>
</file>

<file path=customXml/item13.xml><?xml version="1.0" encoding="utf-8"?>
<DcR_SlideID>c432636c-bb71-4edb-b9b3-5e5d0d1708d0</DcR_SlideID>
</file>

<file path=customXml/item14.xml><?xml version="1.0" encoding="utf-8"?>
<DcR_SlideID>c432636c-bb71-4edb-b9b3-5e5d0d1708d0</DcR_SlideID>
</file>

<file path=customXml/item15.xml><?xml version="1.0" encoding="utf-8"?>
<DcR_SlideID>c432636c-bb71-4edb-b9b3-5e5d0d1708d0</DcR_SlideID>
</file>

<file path=customXml/item16.xml><?xml version="1.0" encoding="utf-8"?>
<DcR_SlideID>c432636c-bb71-4edb-b9b3-5e5d0d1708d0</DcR_SlideID>
</file>

<file path=customXml/item17.xml><?xml version="1.0" encoding="utf-8"?>
<DcR_SlideID>c432636c-bb71-4edb-b9b3-5e5d0d1708d0</DcR_SlideID>
</file>

<file path=customXml/item18.xml><?xml version="1.0" encoding="utf-8"?>
<DcR_SlideID>c432636c-bb71-4edb-b9b3-5e5d0d1708d0</DcR_SlideID>
</file>

<file path=customXml/item2.xml><?xml version="1.0" encoding="utf-8"?>
<DcR_SlideID>c432636c-bb71-4edb-b9b3-5e5d0d1708d0</DcR_SlideID>
</file>

<file path=customXml/item3.xml><?xml version="1.0" encoding="utf-8"?>
<DcR_SlideID>c432636c-bb71-4edb-b9b3-5e5d0d1708d0</DcR_SlideID>
</file>

<file path=customXml/item4.xml><?xml version="1.0" encoding="utf-8"?>
<DcR_SlideID>c432636c-bb71-4edb-b9b3-5e5d0d1708d0</DcR_SlideID>
</file>

<file path=customXml/item5.xml><?xml version="1.0" encoding="utf-8"?>
<DcR_SlideID>c432636c-bb71-4edb-b9b3-5e5d0d1708d0</DcR_SlideID>
</file>

<file path=customXml/item6.xml><?xml version="1.0" encoding="utf-8"?>
<DcR_SlideID>c432636c-bb71-4edb-b9b3-5e5d0d1708d0</DcR_SlideID>
</file>

<file path=customXml/item7.xml><?xml version="1.0" encoding="utf-8"?>
<DcR_SlideID>c432636c-bb71-4edb-b9b3-5e5d0d1708d0</DcR_SlideID>
</file>

<file path=customXml/item8.xml><?xml version="1.0" encoding="utf-8"?>
<DcR_SlideID>c432636c-bb71-4edb-b9b3-5e5d0d1708d0</DcR_SlideID>
</file>

<file path=customXml/item9.xml><?xml version="1.0" encoding="utf-8"?>
<DcR_SlideID>c432636c-bb71-4edb-b9b3-5e5d0d1708d0</DcR_SlideID>
</file>

<file path=customXml/itemProps1.xml><?xml version="1.0" encoding="utf-8"?>
<ds:datastoreItem xmlns:ds="http://schemas.openxmlformats.org/officeDocument/2006/customXml" ds:itemID="{17AC63A1-2172-495B-9B51-85492954E1E9}">
  <ds:schemaRefs/>
</ds:datastoreItem>
</file>

<file path=customXml/itemProps10.xml><?xml version="1.0" encoding="utf-8"?>
<ds:datastoreItem xmlns:ds="http://schemas.openxmlformats.org/officeDocument/2006/customXml" ds:itemID="{701D57AD-A4E5-430C-A2AA-6567A974C35E}">
  <ds:schemaRefs/>
</ds:datastoreItem>
</file>

<file path=customXml/itemProps11.xml><?xml version="1.0" encoding="utf-8"?>
<ds:datastoreItem xmlns:ds="http://schemas.openxmlformats.org/officeDocument/2006/customXml" ds:itemID="{C502E3EB-F8B8-4DF8-A150-DDC2B077DC5C}">
  <ds:schemaRefs/>
</ds:datastoreItem>
</file>

<file path=customXml/itemProps12.xml><?xml version="1.0" encoding="utf-8"?>
<ds:datastoreItem xmlns:ds="http://schemas.openxmlformats.org/officeDocument/2006/customXml" ds:itemID="{E42FB587-16B5-4A89-88CF-FE5A7EB9141D}">
  <ds:schemaRefs/>
</ds:datastoreItem>
</file>

<file path=customXml/itemProps13.xml><?xml version="1.0" encoding="utf-8"?>
<ds:datastoreItem xmlns:ds="http://schemas.openxmlformats.org/officeDocument/2006/customXml" ds:itemID="{2CBA5323-8536-4CAC-831D-4D0CA9B50343}">
  <ds:schemaRefs/>
</ds:datastoreItem>
</file>

<file path=customXml/itemProps14.xml><?xml version="1.0" encoding="utf-8"?>
<ds:datastoreItem xmlns:ds="http://schemas.openxmlformats.org/officeDocument/2006/customXml" ds:itemID="{1F82FAAE-E141-4BCF-8AEB-57282054DA39}">
  <ds:schemaRefs/>
</ds:datastoreItem>
</file>

<file path=customXml/itemProps15.xml><?xml version="1.0" encoding="utf-8"?>
<ds:datastoreItem xmlns:ds="http://schemas.openxmlformats.org/officeDocument/2006/customXml" ds:itemID="{1718B530-6D5D-489D-AA71-E71DF96C31AA}">
  <ds:schemaRefs/>
</ds:datastoreItem>
</file>

<file path=customXml/itemProps16.xml><?xml version="1.0" encoding="utf-8"?>
<ds:datastoreItem xmlns:ds="http://schemas.openxmlformats.org/officeDocument/2006/customXml" ds:itemID="{86C7EFFE-2D13-4BBB-94A9-5D3980941F07}">
  <ds:schemaRefs/>
</ds:datastoreItem>
</file>

<file path=customXml/itemProps17.xml><?xml version="1.0" encoding="utf-8"?>
<ds:datastoreItem xmlns:ds="http://schemas.openxmlformats.org/officeDocument/2006/customXml" ds:itemID="{41E966DE-46BF-4032-87CF-DD272A87F1E4}">
  <ds:schemaRefs/>
</ds:datastoreItem>
</file>

<file path=customXml/itemProps18.xml><?xml version="1.0" encoding="utf-8"?>
<ds:datastoreItem xmlns:ds="http://schemas.openxmlformats.org/officeDocument/2006/customXml" ds:itemID="{2F4DAB67-D48C-49E0-8B6D-295363B95A7D}">
  <ds:schemaRefs/>
</ds:datastoreItem>
</file>

<file path=customXml/itemProps2.xml><?xml version="1.0" encoding="utf-8"?>
<ds:datastoreItem xmlns:ds="http://schemas.openxmlformats.org/officeDocument/2006/customXml" ds:itemID="{0FF7CD66-7026-4321-9349-4C2027355A0B}">
  <ds:schemaRefs/>
</ds:datastoreItem>
</file>

<file path=customXml/itemProps3.xml><?xml version="1.0" encoding="utf-8"?>
<ds:datastoreItem xmlns:ds="http://schemas.openxmlformats.org/officeDocument/2006/customXml" ds:itemID="{3DEA0CD5-729E-4257-ACE4-FD9CE27556AC}">
  <ds:schemaRefs/>
</ds:datastoreItem>
</file>

<file path=customXml/itemProps4.xml><?xml version="1.0" encoding="utf-8"?>
<ds:datastoreItem xmlns:ds="http://schemas.openxmlformats.org/officeDocument/2006/customXml" ds:itemID="{412653B6-CEAA-4277-9E0C-843B30EB2BFD}">
  <ds:schemaRefs/>
</ds:datastoreItem>
</file>

<file path=customXml/itemProps5.xml><?xml version="1.0" encoding="utf-8"?>
<ds:datastoreItem xmlns:ds="http://schemas.openxmlformats.org/officeDocument/2006/customXml" ds:itemID="{7A16C02F-390C-4F35-9DCB-64E376FA5EF9}">
  <ds:schemaRefs/>
</ds:datastoreItem>
</file>

<file path=customXml/itemProps6.xml><?xml version="1.0" encoding="utf-8"?>
<ds:datastoreItem xmlns:ds="http://schemas.openxmlformats.org/officeDocument/2006/customXml" ds:itemID="{A8F37C4B-80FD-4C00-940C-0C9E3091477A}">
  <ds:schemaRefs/>
</ds:datastoreItem>
</file>

<file path=customXml/itemProps7.xml><?xml version="1.0" encoding="utf-8"?>
<ds:datastoreItem xmlns:ds="http://schemas.openxmlformats.org/officeDocument/2006/customXml" ds:itemID="{F83AFCA8-9ED0-411B-B21C-DE3E6FBA63D4}">
  <ds:schemaRefs/>
</ds:datastoreItem>
</file>

<file path=customXml/itemProps8.xml><?xml version="1.0" encoding="utf-8"?>
<ds:datastoreItem xmlns:ds="http://schemas.openxmlformats.org/officeDocument/2006/customXml" ds:itemID="{BAF77F01-AE1D-43F5-9784-ACB730B5A2AF}">
  <ds:schemaRefs/>
</ds:datastoreItem>
</file>

<file path=customXml/itemProps9.xml><?xml version="1.0" encoding="utf-8"?>
<ds:datastoreItem xmlns:ds="http://schemas.openxmlformats.org/officeDocument/2006/customXml" ds:itemID="{6043C618-B83F-4915-AE6B-6F6AC606C4C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89</TotalTime>
  <Words>186</Words>
  <Application>Microsoft Office PowerPoint</Application>
  <PresentationFormat>Geniş ekran</PresentationFormat>
  <Paragraphs>34</Paragraphs>
  <Slides>2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</vt:i4>
      </vt:variant>
    </vt:vector>
  </HeadingPairs>
  <TitlesOfParts>
    <vt:vector size="11" baseType="lpstr">
      <vt:lpstr>Arial</vt:lpstr>
      <vt:lpstr>Calibri</vt:lpstr>
      <vt:lpstr>Calibri Light</vt:lpstr>
      <vt:lpstr>ITC Avant Garde Std Bk</vt:lpstr>
      <vt:lpstr>Sakkal Majalla</vt:lpstr>
      <vt:lpstr>Tajawal</vt:lpstr>
      <vt:lpstr>1_Office Theme</vt:lpstr>
      <vt:lpstr>3_Office Theme</vt:lpstr>
      <vt:lpstr>think-cell Slide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di Shafiq Qayed فادي شفيق القائد</dc:creator>
  <cp:lastModifiedBy>Semih Özkale</cp:lastModifiedBy>
  <cp:revision>35</cp:revision>
  <dcterms:created xsi:type="dcterms:W3CDTF">2023-12-11T09:21:51Z</dcterms:created>
  <dcterms:modified xsi:type="dcterms:W3CDTF">2025-09-23T10:49:33Z</dcterms:modified>
</cp:coreProperties>
</file>